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9"/>
  </p:notesMasterIdLst>
  <p:handoutMasterIdLst>
    <p:handoutMasterId r:id="rId10"/>
  </p:handoutMasterIdLst>
  <p:sldIdLst>
    <p:sldId id="295" r:id="rId6"/>
    <p:sldId id="306" r:id="rId7"/>
    <p:sldId id="307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600"/>
  </p:normalViewPr>
  <p:slideViewPr>
    <p:cSldViewPr showGuides="1">
      <p:cViewPr varScale="1">
        <p:scale>
          <a:sx n="124" d="100"/>
          <a:sy n="124" d="100"/>
        </p:scale>
        <p:origin x="427" y="10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ang Li" userId="9467cdd0-9ca9-4b26-9916-7c92315fd35f" providerId="ADAL" clId="{62DBAD87-2F08-42A6-B650-D36872CDC967}"/>
    <pc:docChg chg="custSel modSld">
      <pc:chgData name="Liang Li" userId="9467cdd0-9ca9-4b26-9916-7c92315fd35f" providerId="ADAL" clId="{62DBAD87-2F08-42A6-B650-D36872CDC967}" dt="2025-03-07T01:18:07.129" v="12" actId="20577"/>
      <pc:docMkLst>
        <pc:docMk/>
      </pc:docMkLst>
      <pc:sldChg chg="delSp modSp mod">
        <pc:chgData name="Liang Li" userId="9467cdd0-9ca9-4b26-9916-7c92315fd35f" providerId="ADAL" clId="{62DBAD87-2F08-42A6-B650-D36872CDC967}" dt="2025-03-07T01:18:07.129" v="12" actId="20577"/>
        <pc:sldMkLst>
          <pc:docMk/>
          <pc:sldMk cId="112599134" sldId="295"/>
        </pc:sldMkLst>
        <pc:spChg chg="mod">
          <ac:chgData name="Liang Li" userId="9467cdd0-9ca9-4b26-9916-7c92315fd35f" providerId="ADAL" clId="{62DBAD87-2F08-42A6-B650-D36872CDC967}" dt="2025-03-07T01:18:07.129" v="12" actId="20577"/>
          <ac:spMkLst>
            <pc:docMk/>
            <pc:sldMk cId="112599134" sldId="295"/>
            <ac:spMk id="2" creationId="{078BDC45-E43D-F262-BEFB-A25D4E635772}"/>
          </ac:spMkLst>
        </pc:spChg>
        <pc:spChg chg="del">
          <ac:chgData name="Liang Li" userId="9467cdd0-9ca9-4b26-9916-7c92315fd35f" providerId="ADAL" clId="{62DBAD87-2F08-42A6-B650-D36872CDC967}" dt="2025-03-07T01:17:41.492" v="0" actId="478"/>
          <ac:spMkLst>
            <pc:docMk/>
            <pc:sldMk cId="112599134" sldId="295"/>
            <ac:spMk id="5" creationId="{EF39CA04-15E2-4EA1-BC06-208124904FF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March 6, 2025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March 6, 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March 6, 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March 6, 2025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March 6, 2025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A4E44F1-7D5E-4F87-918E-B7456E0274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05325" y="1557179"/>
            <a:ext cx="6467475" cy="935641"/>
          </a:xfrm>
        </p:spPr>
        <p:txBody>
          <a:bodyPr/>
          <a:lstStyle/>
          <a:p>
            <a:r>
              <a:rPr lang="en-US" dirty="0"/>
              <a:t>eP5XLE</a:t>
            </a:r>
            <a:r>
              <a:rPr lang="zh-CN" altLang="en-US" dirty="0"/>
              <a:t> </a:t>
            </a:r>
            <a:r>
              <a:rPr lang="en-US" altLang="zh-CN" dirty="0"/>
              <a:t>Detector Design Change</a:t>
            </a:r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5325" y="2492819"/>
            <a:ext cx="6467475" cy="371784"/>
          </a:xfrm>
        </p:spPr>
        <p:txBody>
          <a:bodyPr/>
          <a:lstStyle/>
          <a:p>
            <a:r>
              <a:rPr lang="en-US" dirty="0"/>
              <a:t>Bottom Detector (BBD) Charging Solution</a:t>
            </a:r>
          </a:p>
        </p:txBody>
      </p:sp>
    </p:spTree>
    <p:extLst>
      <p:ext uri="{BB962C8B-B14F-4D97-AF65-F5344CB8AC3E}">
        <p14:creationId xmlns:p14="http://schemas.microsoft.com/office/powerpoint/2010/main" val="11259913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AA187-AE9D-BF5E-0F87-7953D026A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9A2AE2-CD97-8751-A9DC-B96EC2EE98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BD New design vs Old desig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40BE09-9821-282B-DEAE-AB85E51DE98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Nov 19, 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F5CED0-84BC-EB33-6D2B-138F92CE36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E303A9-F6B3-6E00-0D16-2FFDA71F323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AB10FCD-85E5-AE6C-5CBD-22B1084134D5}"/>
              </a:ext>
            </a:extLst>
          </p:cNvPr>
          <p:cNvCxnSpPr>
            <a:cxnSpLocks/>
          </p:cNvCxnSpPr>
          <p:nvPr/>
        </p:nvCxnSpPr>
        <p:spPr>
          <a:xfrm>
            <a:off x="1132887" y="4446318"/>
            <a:ext cx="1516064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09ABA9-D4DA-19C3-AB60-70EE92C68B2D}"/>
              </a:ext>
            </a:extLst>
          </p:cNvPr>
          <p:cNvCxnSpPr>
            <a:cxnSpLocks/>
          </p:cNvCxnSpPr>
          <p:nvPr/>
        </p:nvCxnSpPr>
        <p:spPr>
          <a:xfrm>
            <a:off x="2633711" y="4433618"/>
            <a:ext cx="358768" cy="1658321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844F09-40A7-5FEE-B4B1-F88388F8299D}"/>
              </a:ext>
            </a:extLst>
          </p:cNvPr>
          <p:cNvCxnSpPr>
            <a:cxnSpLocks/>
          </p:cNvCxnSpPr>
          <p:nvPr/>
        </p:nvCxnSpPr>
        <p:spPr>
          <a:xfrm>
            <a:off x="1132887" y="6091939"/>
            <a:ext cx="1865688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B7591E9-BBBF-2B7B-F099-3A6F233DFA6B}"/>
              </a:ext>
            </a:extLst>
          </p:cNvPr>
          <p:cNvCxnSpPr>
            <a:cxnSpLocks/>
          </p:cNvCxnSpPr>
          <p:nvPr/>
        </p:nvCxnSpPr>
        <p:spPr>
          <a:xfrm>
            <a:off x="4333287" y="4433618"/>
            <a:ext cx="14478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E3EBEEB-B944-41AE-742A-F8CABB1DE9E8}"/>
              </a:ext>
            </a:extLst>
          </p:cNvPr>
          <p:cNvCxnSpPr>
            <a:cxnSpLocks/>
          </p:cNvCxnSpPr>
          <p:nvPr/>
        </p:nvCxnSpPr>
        <p:spPr>
          <a:xfrm flipH="1">
            <a:off x="4000679" y="4417743"/>
            <a:ext cx="353563" cy="167419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97EC68A-6244-2F57-0E03-E7CC250B99A5}"/>
              </a:ext>
            </a:extLst>
          </p:cNvPr>
          <p:cNvCxnSpPr>
            <a:cxnSpLocks/>
          </p:cNvCxnSpPr>
          <p:nvPr/>
        </p:nvCxnSpPr>
        <p:spPr>
          <a:xfrm>
            <a:off x="4003087" y="6091939"/>
            <a:ext cx="1778000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3F39E3D-1841-0D9D-32B6-3491AA00F850}"/>
              </a:ext>
            </a:extLst>
          </p:cNvPr>
          <p:cNvCxnSpPr/>
          <p:nvPr/>
        </p:nvCxnSpPr>
        <p:spPr>
          <a:xfrm>
            <a:off x="2248585" y="4420664"/>
            <a:ext cx="404176" cy="0"/>
          </a:xfrm>
          <a:prstGeom prst="line">
            <a:avLst/>
          </a:prstGeom>
          <a:ln w="28575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72A6A8B-16B5-27FA-3D57-7CF523D89F9A}"/>
              </a:ext>
            </a:extLst>
          </p:cNvPr>
          <p:cNvCxnSpPr/>
          <p:nvPr/>
        </p:nvCxnSpPr>
        <p:spPr>
          <a:xfrm>
            <a:off x="4333287" y="4406440"/>
            <a:ext cx="404176" cy="0"/>
          </a:xfrm>
          <a:prstGeom prst="line">
            <a:avLst/>
          </a:prstGeom>
          <a:ln w="28575"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42929BB-E7B5-135E-A321-BAEAABED4574}"/>
              </a:ext>
            </a:extLst>
          </p:cNvPr>
          <p:cNvCxnSpPr/>
          <p:nvPr/>
        </p:nvCxnSpPr>
        <p:spPr>
          <a:xfrm>
            <a:off x="1843455" y="4393994"/>
            <a:ext cx="404176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587FF02-6FF8-9F28-7B11-033A8168AD45}"/>
              </a:ext>
            </a:extLst>
          </p:cNvPr>
          <p:cNvCxnSpPr/>
          <p:nvPr/>
        </p:nvCxnSpPr>
        <p:spPr>
          <a:xfrm>
            <a:off x="4731435" y="4382564"/>
            <a:ext cx="404176" cy="0"/>
          </a:xfrm>
          <a:prstGeom prst="line">
            <a:avLst/>
          </a:prstGeom>
          <a:ln w="76200">
            <a:solidFill>
              <a:schemeClr val="accent6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030CD2-89C8-B4BB-094A-F718BF707FFE}"/>
              </a:ext>
            </a:extLst>
          </p:cNvPr>
          <p:cNvCxnSpPr>
            <a:cxnSpLocks/>
          </p:cNvCxnSpPr>
          <p:nvPr/>
        </p:nvCxnSpPr>
        <p:spPr>
          <a:xfrm>
            <a:off x="5135611" y="4406440"/>
            <a:ext cx="645476" cy="0"/>
          </a:xfrm>
          <a:prstGeom prst="line">
            <a:avLst/>
          </a:prstGeom>
          <a:ln w="28575">
            <a:solidFill>
              <a:srgbClr val="FF9999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B0CA372-F7AC-E546-1738-356D3A4655A3}"/>
              </a:ext>
            </a:extLst>
          </p:cNvPr>
          <p:cNvCxnSpPr>
            <a:cxnSpLocks/>
          </p:cNvCxnSpPr>
          <p:nvPr/>
        </p:nvCxnSpPr>
        <p:spPr>
          <a:xfrm>
            <a:off x="1132887" y="4417743"/>
            <a:ext cx="710568" cy="0"/>
          </a:xfrm>
          <a:prstGeom prst="line">
            <a:avLst/>
          </a:prstGeom>
          <a:ln w="28575">
            <a:solidFill>
              <a:srgbClr val="FF9999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DAC6DAD-2C67-A9DF-6D6C-C70DDE8E289B}"/>
              </a:ext>
            </a:extLst>
          </p:cNvPr>
          <p:cNvCxnSpPr>
            <a:cxnSpLocks/>
          </p:cNvCxnSpPr>
          <p:nvPr/>
        </p:nvCxnSpPr>
        <p:spPr>
          <a:xfrm flipV="1">
            <a:off x="1126791" y="6127252"/>
            <a:ext cx="1908556" cy="7359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0C966C1-7FE8-8E47-8B7D-AF51908F4121}"/>
              </a:ext>
            </a:extLst>
          </p:cNvPr>
          <p:cNvCxnSpPr>
            <a:cxnSpLocks/>
          </p:cNvCxnSpPr>
          <p:nvPr/>
        </p:nvCxnSpPr>
        <p:spPr>
          <a:xfrm>
            <a:off x="3982549" y="6134611"/>
            <a:ext cx="1798538" cy="0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059795A-9810-D2DB-6863-DCEC36C27AC9}"/>
              </a:ext>
            </a:extLst>
          </p:cNvPr>
          <p:cNvCxnSpPr>
            <a:cxnSpLocks/>
          </p:cNvCxnSpPr>
          <p:nvPr/>
        </p:nvCxnSpPr>
        <p:spPr>
          <a:xfrm>
            <a:off x="2020335" y="4446318"/>
            <a:ext cx="0" cy="3352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08C74C4-1E33-3C9A-DE3D-89F972A0966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00200" y="4799537"/>
            <a:ext cx="852798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>
                <a:solidFill>
                  <a:schemeClr val="accent6"/>
                </a:solidFill>
              </a:rPr>
              <a:t>SiO</a:t>
            </a:r>
            <a:r>
              <a:rPr lang="en-US" sz="1200" b="1" baseline="-25000" dirty="0">
                <a:solidFill>
                  <a:schemeClr val="accent6"/>
                </a:solidFill>
              </a:rPr>
              <a:t>2</a:t>
            </a:r>
            <a:r>
              <a:rPr lang="en-US" sz="1200" b="1" dirty="0">
                <a:solidFill>
                  <a:schemeClr val="accent6"/>
                </a:solidFill>
              </a:rPr>
              <a:t> 700n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96EF0CB-ABF1-5697-104F-409044AFDD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42802" y="3805748"/>
            <a:ext cx="852798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>
                <a:solidFill>
                  <a:schemeClr val="accent4"/>
                </a:solidFill>
              </a:rPr>
              <a:t>SiO</a:t>
            </a:r>
            <a:r>
              <a:rPr lang="en-US" sz="1200" b="1" baseline="-25000" dirty="0">
                <a:solidFill>
                  <a:schemeClr val="accent4"/>
                </a:solidFill>
              </a:rPr>
              <a:t>2</a:t>
            </a:r>
            <a:r>
              <a:rPr lang="en-US" sz="1200" b="1" dirty="0">
                <a:solidFill>
                  <a:schemeClr val="accent4"/>
                </a:solidFill>
              </a:rPr>
              <a:t> 200nm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0C3FDB6-CECF-0B21-3F26-2EFBD2DF3596}"/>
              </a:ext>
            </a:extLst>
          </p:cNvPr>
          <p:cNvCxnSpPr/>
          <p:nvPr/>
        </p:nvCxnSpPr>
        <p:spPr>
          <a:xfrm flipV="1">
            <a:off x="2458549" y="3994135"/>
            <a:ext cx="0" cy="4296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468B744-229A-41A5-B5BD-769698338796}"/>
              </a:ext>
            </a:extLst>
          </p:cNvPr>
          <p:cNvCxnSpPr>
            <a:cxnSpLocks/>
          </p:cNvCxnSpPr>
          <p:nvPr/>
        </p:nvCxnSpPr>
        <p:spPr>
          <a:xfrm>
            <a:off x="2668332" y="4409931"/>
            <a:ext cx="367015" cy="1724680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7C1A8C-2BF6-3158-3335-B7D19DA622D0}"/>
              </a:ext>
            </a:extLst>
          </p:cNvPr>
          <p:cNvCxnSpPr>
            <a:cxnSpLocks/>
          </p:cNvCxnSpPr>
          <p:nvPr/>
        </p:nvCxnSpPr>
        <p:spPr>
          <a:xfrm flipH="1">
            <a:off x="3946891" y="4393994"/>
            <a:ext cx="365009" cy="1768094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6E6D254-5965-633E-C6E1-6408C485F7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8200" y="3697630"/>
            <a:ext cx="5222240" cy="2550405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C32C71E-6BD6-3F47-C7F8-F4F6CE5519A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409521" y="3971914"/>
            <a:ext cx="1608261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>
                <a:solidFill>
                  <a:srgbClr val="FFD100"/>
                </a:solidFill>
              </a:rPr>
              <a:t>Uniform Ti/Au coat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95B8B29-79C5-D4B0-D2C7-852C8BDE4A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257800" y="4197228"/>
            <a:ext cx="750205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rgbClr val="FF9999"/>
                </a:solidFill>
              </a:rPr>
              <a:t>active area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E62433F-BDAE-2071-828B-E95D666B7F16}"/>
              </a:ext>
            </a:extLst>
          </p:cNvPr>
          <p:cNvCxnSpPr>
            <a:cxnSpLocks/>
          </p:cNvCxnSpPr>
          <p:nvPr/>
        </p:nvCxnSpPr>
        <p:spPr>
          <a:xfrm flipV="1">
            <a:off x="4177460" y="4197228"/>
            <a:ext cx="0" cy="422334"/>
          </a:xfrm>
          <a:prstGeom prst="straightConnector1">
            <a:avLst/>
          </a:prstGeom>
          <a:ln>
            <a:solidFill>
              <a:srgbClr val="FFD1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EFC94565-0AC8-6C02-2C41-A57D86A145B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55451" y="5743075"/>
            <a:ext cx="1715213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/>
              <a:t>Smooth sidewall polish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D13A1412-9800-45A3-9C29-944F120698B3}"/>
              </a:ext>
            </a:extLst>
          </p:cNvPr>
          <p:cNvCxnSpPr>
            <a:cxnSpLocks/>
          </p:cNvCxnSpPr>
          <p:nvPr/>
        </p:nvCxnSpPr>
        <p:spPr>
          <a:xfrm>
            <a:off x="4219459" y="5253966"/>
            <a:ext cx="0" cy="4997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F0F863B4-AC2D-9AB8-3F1F-FD8FC147C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949183" y="3362351"/>
            <a:ext cx="1000274" cy="26314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rgbClr val="10069F"/>
                </a:solidFill>
              </a:rPr>
              <a:t>New BBD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2866A0D-CAF4-26C4-F3CE-0F0D5D331AB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279220" y="3697630"/>
            <a:ext cx="5128735" cy="2550405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71FCBDF-A84A-9777-BB98-C7F2F0B5E7F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94746" y="3366506"/>
            <a:ext cx="897682" cy="26314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rgbClr val="10069F"/>
                </a:solidFill>
              </a:rPr>
              <a:t>Old BBD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2BAF800-8392-C5F3-6E87-C6905F40B242}"/>
              </a:ext>
            </a:extLst>
          </p:cNvPr>
          <p:cNvCxnSpPr>
            <a:cxnSpLocks/>
          </p:cNvCxnSpPr>
          <p:nvPr/>
        </p:nvCxnSpPr>
        <p:spPr>
          <a:xfrm>
            <a:off x="6424124" y="4415215"/>
            <a:ext cx="1516064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2976884-8DEC-6F14-64EE-27A52B420A29}"/>
              </a:ext>
            </a:extLst>
          </p:cNvPr>
          <p:cNvCxnSpPr>
            <a:cxnSpLocks/>
          </p:cNvCxnSpPr>
          <p:nvPr/>
        </p:nvCxnSpPr>
        <p:spPr>
          <a:xfrm>
            <a:off x="7924948" y="4402515"/>
            <a:ext cx="76200" cy="30480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92FEB43-414A-5997-730F-CBE591BC720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993976" y="4688639"/>
            <a:ext cx="313765" cy="1380564"/>
          </a:xfrm>
          <a:custGeom>
            <a:avLst/>
            <a:gdLst>
              <a:gd name="connsiteX0" fmla="*/ 0 w 313765"/>
              <a:gd name="connsiteY0" fmla="*/ 0 h 1380564"/>
              <a:gd name="connsiteX1" fmla="*/ 8965 w 313765"/>
              <a:gd name="connsiteY1" fmla="*/ 44823 h 1380564"/>
              <a:gd name="connsiteX2" fmla="*/ 17930 w 313765"/>
              <a:gd name="connsiteY2" fmla="*/ 98611 h 1380564"/>
              <a:gd name="connsiteX3" fmla="*/ 44824 w 313765"/>
              <a:gd name="connsiteY3" fmla="*/ 116541 h 1380564"/>
              <a:gd name="connsiteX4" fmla="*/ 89647 w 313765"/>
              <a:gd name="connsiteY4" fmla="*/ 143435 h 1380564"/>
              <a:gd name="connsiteX5" fmla="*/ 62753 w 313765"/>
              <a:gd name="connsiteY5" fmla="*/ 197223 h 1380564"/>
              <a:gd name="connsiteX6" fmla="*/ 53788 w 313765"/>
              <a:gd name="connsiteY6" fmla="*/ 224117 h 1380564"/>
              <a:gd name="connsiteX7" fmla="*/ 62753 w 313765"/>
              <a:gd name="connsiteY7" fmla="*/ 304800 h 1380564"/>
              <a:gd name="connsiteX8" fmla="*/ 89647 w 313765"/>
              <a:gd name="connsiteY8" fmla="*/ 394447 h 1380564"/>
              <a:gd name="connsiteX9" fmla="*/ 125506 w 313765"/>
              <a:gd name="connsiteY9" fmla="*/ 430305 h 1380564"/>
              <a:gd name="connsiteX10" fmla="*/ 134471 w 313765"/>
              <a:gd name="connsiteY10" fmla="*/ 493058 h 1380564"/>
              <a:gd name="connsiteX11" fmla="*/ 125506 w 313765"/>
              <a:gd name="connsiteY11" fmla="*/ 528917 h 1380564"/>
              <a:gd name="connsiteX12" fmla="*/ 170330 w 313765"/>
              <a:gd name="connsiteY12" fmla="*/ 699247 h 1380564"/>
              <a:gd name="connsiteX13" fmla="*/ 188259 w 313765"/>
              <a:gd name="connsiteY13" fmla="*/ 735105 h 1380564"/>
              <a:gd name="connsiteX14" fmla="*/ 286871 w 313765"/>
              <a:gd name="connsiteY14" fmla="*/ 842682 h 1380564"/>
              <a:gd name="connsiteX15" fmla="*/ 313765 w 313765"/>
              <a:gd name="connsiteY15" fmla="*/ 878541 h 1380564"/>
              <a:gd name="connsiteX16" fmla="*/ 277906 w 313765"/>
              <a:gd name="connsiteY16" fmla="*/ 923364 h 1380564"/>
              <a:gd name="connsiteX17" fmla="*/ 268941 w 313765"/>
              <a:gd name="connsiteY17" fmla="*/ 1066800 h 1380564"/>
              <a:gd name="connsiteX18" fmla="*/ 251012 w 313765"/>
              <a:gd name="connsiteY18" fmla="*/ 1129552 h 1380564"/>
              <a:gd name="connsiteX19" fmla="*/ 268941 w 313765"/>
              <a:gd name="connsiteY19" fmla="*/ 1326776 h 1380564"/>
              <a:gd name="connsiteX20" fmla="*/ 286871 w 313765"/>
              <a:gd name="connsiteY20" fmla="*/ 1380564 h 1380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13765" h="1380564">
                <a:moveTo>
                  <a:pt x="0" y="0"/>
                </a:moveTo>
                <a:cubicBezTo>
                  <a:pt x="2988" y="14941"/>
                  <a:pt x="6239" y="29832"/>
                  <a:pt x="8965" y="44823"/>
                </a:cubicBezTo>
                <a:cubicBezTo>
                  <a:pt x="12217" y="62706"/>
                  <a:pt x="9801" y="82353"/>
                  <a:pt x="17930" y="98611"/>
                </a:cubicBezTo>
                <a:cubicBezTo>
                  <a:pt x="22748" y="108248"/>
                  <a:pt x="35687" y="110831"/>
                  <a:pt x="44824" y="116541"/>
                </a:cubicBezTo>
                <a:cubicBezTo>
                  <a:pt x="59600" y="125776"/>
                  <a:pt x="74706" y="134470"/>
                  <a:pt x="89647" y="143435"/>
                </a:cubicBezTo>
                <a:cubicBezTo>
                  <a:pt x="80682" y="161364"/>
                  <a:pt x="70894" y="178905"/>
                  <a:pt x="62753" y="197223"/>
                </a:cubicBezTo>
                <a:cubicBezTo>
                  <a:pt x="58915" y="205858"/>
                  <a:pt x="53788" y="214667"/>
                  <a:pt x="53788" y="224117"/>
                </a:cubicBezTo>
                <a:cubicBezTo>
                  <a:pt x="53788" y="251177"/>
                  <a:pt x="59177" y="277978"/>
                  <a:pt x="62753" y="304800"/>
                </a:cubicBezTo>
                <a:cubicBezTo>
                  <a:pt x="67368" y="339410"/>
                  <a:pt x="68403" y="366122"/>
                  <a:pt x="89647" y="394447"/>
                </a:cubicBezTo>
                <a:cubicBezTo>
                  <a:pt x="99789" y="407970"/>
                  <a:pt x="113553" y="418352"/>
                  <a:pt x="125506" y="430305"/>
                </a:cubicBezTo>
                <a:cubicBezTo>
                  <a:pt x="128494" y="451223"/>
                  <a:pt x="134471" y="471928"/>
                  <a:pt x="134471" y="493058"/>
                </a:cubicBezTo>
                <a:cubicBezTo>
                  <a:pt x="134471" y="505379"/>
                  <a:pt x="123395" y="516778"/>
                  <a:pt x="125506" y="528917"/>
                </a:cubicBezTo>
                <a:cubicBezTo>
                  <a:pt x="135565" y="586759"/>
                  <a:pt x="153236" y="643081"/>
                  <a:pt x="170330" y="699247"/>
                </a:cubicBezTo>
                <a:cubicBezTo>
                  <a:pt x="174221" y="712031"/>
                  <a:pt x="179832" y="724733"/>
                  <a:pt x="188259" y="735105"/>
                </a:cubicBezTo>
                <a:cubicBezTo>
                  <a:pt x="218934" y="772859"/>
                  <a:pt x="254838" y="806073"/>
                  <a:pt x="286871" y="842682"/>
                </a:cubicBezTo>
                <a:cubicBezTo>
                  <a:pt x="296710" y="853926"/>
                  <a:pt x="304800" y="866588"/>
                  <a:pt x="313765" y="878541"/>
                </a:cubicBezTo>
                <a:cubicBezTo>
                  <a:pt x="301812" y="893482"/>
                  <a:pt x="282338" y="904750"/>
                  <a:pt x="277906" y="923364"/>
                </a:cubicBezTo>
                <a:cubicBezTo>
                  <a:pt x="266810" y="969967"/>
                  <a:pt x="275137" y="1019297"/>
                  <a:pt x="268941" y="1066800"/>
                </a:cubicBezTo>
                <a:cubicBezTo>
                  <a:pt x="266127" y="1088372"/>
                  <a:pt x="256988" y="1108635"/>
                  <a:pt x="251012" y="1129552"/>
                </a:cubicBezTo>
                <a:cubicBezTo>
                  <a:pt x="256988" y="1195293"/>
                  <a:pt x="259605" y="1261427"/>
                  <a:pt x="268941" y="1326776"/>
                </a:cubicBezTo>
                <a:cubicBezTo>
                  <a:pt x="271614" y="1345485"/>
                  <a:pt x="286871" y="1380564"/>
                  <a:pt x="286871" y="1380564"/>
                </a:cubicBezTo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618203D-956F-6691-BC4B-7EA480F6BC87}"/>
              </a:ext>
            </a:extLst>
          </p:cNvPr>
          <p:cNvCxnSpPr>
            <a:cxnSpLocks/>
          </p:cNvCxnSpPr>
          <p:nvPr/>
        </p:nvCxnSpPr>
        <p:spPr>
          <a:xfrm>
            <a:off x="6424124" y="6060836"/>
            <a:ext cx="1865688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2036AEB-77D7-9BFB-E7BD-C7AFEEC6730C}"/>
              </a:ext>
            </a:extLst>
          </p:cNvPr>
          <p:cNvCxnSpPr>
            <a:cxnSpLocks/>
          </p:cNvCxnSpPr>
          <p:nvPr/>
        </p:nvCxnSpPr>
        <p:spPr>
          <a:xfrm>
            <a:off x="9624524" y="4402515"/>
            <a:ext cx="14478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D488795-CBFB-F2A7-6ADA-5B8D3A9B3A2F}"/>
              </a:ext>
            </a:extLst>
          </p:cNvPr>
          <p:cNvCxnSpPr>
            <a:cxnSpLocks/>
            <a:endCxn id="57" idx="1"/>
          </p:cNvCxnSpPr>
          <p:nvPr/>
        </p:nvCxnSpPr>
        <p:spPr>
          <a:xfrm flipH="1">
            <a:off x="9543244" y="4386640"/>
            <a:ext cx="102235" cy="33347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9C4D4C56-9C6C-2111-3230-6B134236FE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294324" y="4709855"/>
            <a:ext cx="274320" cy="1359348"/>
          </a:xfrm>
          <a:custGeom>
            <a:avLst/>
            <a:gdLst>
              <a:gd name="connsiteX0" fmla="*/ 274320 w 274320"/>
              <a:gd name="connsiteY0" fmla="*/ 0 h 1346200"/>
              <a:gd name="connsiteX1" fmla="*/ 248920 w 274320"/>
              <a:gd name="connsiteY1" fmla="*/ 10160 h 1346200"/>
              <a:gd name="connsiteX2" fmla="*/ 233680 w 274320"/>
              <a:gd name="connsiteY2" fmla="*/ 55880 h 1346200"/>
              <a:gd name="connsiteX3" fmla="*/ 223520 w 274320"/>
              <a:gd name="connsiteY3" fmla="*/ 86360 h 1346200"/>
              <a:gd name="connsiteX4" fmla="*/ 218440 w 274320"/>
              <a:gd name="connsiteY4" fmla="*/ 127000 h 1346200"/>
              <a:gd name="connsiteX5" fmla="*/ 213360 w 274320"/>
              <a:gd name="connsiteY5" fmla="*/ 147320 h 1346200"/>
              <a:gd name="connsiteX6" fmla="*/ 198120 w 274320"/>
              <a:gd name="connsiteY6" fmla="*/ 243840 h 1346200"/>
              <a:gd name="connsiteX7" fmla="*/ 167640 w 274320"/>
              <a:gd name="connsiteY7" fmla="*/ 299720 h 1346200"/>
              <a:gd name="connsiteX8" fmla="*/ 223520 w 274320"/>
              <a:gd name="connsiteY8" fmla="*/ 365760 h 1346200"/>
              <a:gd name="connsiteX9" fmla="*/ 218440 w 274320"/>
              <a:gd name="connsiteY9" fmla="*/ 406400 h 1346200"/>
              <a:gd name="connsiteX10" fmla="*/ 203200 w 274320"/>
              <a:gd name="connsiteY10" fmla="*/ 447040 h 1346200"/>
              <a:gd name="connsiteX11" fmla="*/ 187960 w 274320"/>
              <a:gd name="connsiteY11" fmla="*/ 492760 h 1346200"/>
              <a:gd name="connsiteX12" fmla="*/ 162560 w 274320"/>
              <a:gd name="connsiteY12" fmla="*/ 609600 h 1346200"/>
              <a:gd name="connsiteX13" fmla="*/ 152400 w 274320"/>
              <a:gd name="connsiteY13" fmla="*/ 675640 h 1346200"/>
              <a:gd name="connsiteX14" fmla="*/ 142240 w 274320"/>
              <a:gd name="connsiteY14" fmla="*/ 690880 h 1346200"/>
              <a:gd name="connsiteX15" fmla="*/ 91440 w 274320"/>
              <a:gd name="connsiteY15" fmla="*/ 762000 h 1346200"/>
              <a:gd name="connsiteX16" fmla="*/ 96520 w 274320"/>
              <a:gd name="connsiteY16" fmla="*/ 873760 h 1346200"/>
              <a:gd name="connsiteX17" fmla="*/ 71120 w 274320"/>
              <a:gd name="connsiteY17" fmla="*/ 1082040 h 1346200"/>
              <a:gd name="connsiteX18" fmla="*/ 66040 w 274320"/>
              <a:gd name="connsiteY18" fmla="*/ 1112520 h 1346200"/>
              <a:gd name="connsiteX19" fmla="*/ 25400 w 274320"/>
              <a:gd name="connsiteY19" fmla="*/ 1158240 h 1346200"/>
              <a:gd name="connsiteX20" fmla="*/ 0 w 274320"/>
              <a:gd name="connsiteY20" fmla="*/ 1209040 h 1346200"/>
              <a:gd name="connsiteX21" fmla="*/ 5080 w 274320"/>
              <a:gd name="connsiteY21" fmla="*/ 1254760 h 1346200"/>
              <a:gd name="connsiteX22" fmla="*/ 15240 w 274320"/>
              <a:gd name="connsiteY22" fmla="*/ 1270000 h 1346200"/>
              <a:gd name="connsiteX23" fmla="*/ 15240 w 274320"/>
              <a:gd name="connsiteY23" fmla="*/ 1346200 h 134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74320" h="1346200">
                <a:moveTo>
                  <a:pt x="274320" y="0"/>
                </a:moveTo>
                <a:cubicBezTo>
                  <a:pt x="265853" y="3387"/>
                  <a:pt x="255844" y="4226"/>
                  <a:pt x="248920" y="10160"/>
                </a:cubicBezTo>
                <a:cubicBezTo>
                  <a:pt x="237870" y="19632"/>
                  <a:pt x="236858" y="44228"/>
                  <a:pt x="233680" y="55880"/>
                </a:cubicBezTo>
                <a:cubicBezTo>
                  <a:pt x="230862" y="66212"/>
                  <a:pt x="226907" y="76200"/>
                  <a:pt x="223520" y="86360"/>
                </a:cubicBezTo>
                <a:cubicBezTo>
                  <a:pt x="221827" y="99907"/>
                  <a:pt x="220684" y="113534"/>
                  <a:pt x="218440" y="127000"/>
                </a:cubicBezTo>
                <a:cubicBezTo>
                  <a:pt x="217292" y="133887"/>
                  <a:pt x="214347" y="140408"/>
                  <a:pt x="213360" y="147320"/>
                </a:cubicBezTo>
                <a:cubicBezTo>
                  <a:pt x="207414" y="188944"/>
                  <a:pt x="211341" y="204176"/>
                  <a:pt x="198120" y="243840"/>
                </a:cubicBezTo>
                <a:cubicBezTo>
                  <a:pt x="193206" y="258582"/>
                  <a:pt x="175910" y="285936"/>
                  <a:pt x="167640" y="299720"/>
                </a:cubicBezTo>
                <a:cubicBezTo>
                  <a:pt x="186267" y="321733"/>
                  <a:pt x="211122" y="339725"/>
                  <a:pt x="223520" y="365760"/>
                </a:cubicBezTo>
                <a:cubicBezTo>
                  <a:pt x="229389" y="378086"/>
                  <a:pt x="221751" y="393156"/>
                  <a:pt x="218440" y="406400"/>
                </a:cubicBezTo>
                <a:cubicBezTo>
                  <a:pt x="214931" y="420436"/>
                  <a:pt x="208015" y="433397"/>
                  <a:pt x="203200" y="447040"/>
                </a:cubicBezTo>
                <a:cubicBezTo>
                  <a:pt x="197853" y="462189"/>
                  <a:pt x="192576" y="477373"/>
                  <a:pt x="187960" y="492760"/>
                </a:cubicBezTo>
                <a:cubicBezTo>
                  <a:pt x="170984" y="549347"/>
                  <a:pt x="171963" y="550047"/>
                  <a:pt x="162560" y="609600"/>
                </a:cubicBezTo>
                <a:cubicBezTo>
                  <a:pt x="162090" y="612575"/>
                  <a:pt x="154229" y="670152"/>
                  <a:pt x="152400" y="675640"/>
                </a:cubicBezTo>
                <a:cubicBezTo>
                  <a:pt x="150469" y="681432"/>
                  <a:pt x="145903" y="685996"/>
                  <a:pt x="142240" y="690880"/>
                </a:cubicBezTo>
                <a:cubicBezTo>
                  <a:pt x="94672" y="754304"/>
                  <a:pt x="119654" y="714976"/>
                  <a:pt x="91440" y="762000"/>
                </a:cubicBezTo>
                <a:cubicBezTo>
                  <a:pt x="93133" y="799253"/>
                  <a:pt x="97783" y="836490"/>
                  <a:pt x="96520" y="873760"/>
                </a:cubicBezTo>
                <a:cubicBezTo>
                  <a:pt x="90563" y="1049477"/>
                  <a:pt x="108199" y="1007882"/>
                  <a:pt x="71120" y="1082040"/>
                </a:cubicBezTo>
                <a:cubicBezTo>
                  <a:pt x="69427" y="1092200"/>
                  <a:pt x="69297" y="1102748"/>
                  <a:pt x="66040" y="1112520"/>
                </a:cubicBezTo>
                <a:cubicBezTo>
                  <a:pt x="61359" y="1126563"/>
                  <a:pt x="28546" y="1154395"/>
                  <a:pt x="25400" y="1158240"/>
                </a:cubicBezTo>
                <a:cubicBezTo>
                  <a:pt x="12401" y="1174128"/>
                  <a:pt x="7424" y="1190479"/>
                  <a:pt x="0" y="1209040"/>
                </a:cubicBezTo>
                <a:cubicBezTo>
                  <a:pt x="1693" y="1224280"/>
                  <a:pt x="1361" y="1239884"/>
                  <a:pt x="5080" y="1254760"/>
                </a:cubicBezTo>
                <a:cubicBezTo>
                  <a:pt x="6561" y="1260683"/>
                  <a:pt x="14566" y="1263932"/>
                  <a:pt x="15240" y="1270000"/>
                </a:cubicBezTo>
                <a:cubicBezTo>
                  <a:pt x="18045" y="1295245"/>
                  <a:pt x="15240" y="1320800"/>
                  <a:pt x="15240" y="1346200"/>
                </a:cubicBezTo>
              </a:path>
            </a:pathLst>
          </a:custGeom>
          <a:noFill/>
          <a:ln w="2857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78861E5-968C-252C-8C48-FA0B279241AA}"/>
              </a:ext>
            </a:extLst>
          </p:cNvPr>
          <p:cNvCxnSpPr>
            <a:cxnSpLocks/>
          </p:cNvCxnSpPr>
          <p:nvPr/>
        </p:nvCxnSpPr>
        <p:spPr>
          <a:xfrm>
            <a:off x="9294324" y="6060836"/>
            <a:ext cx="1778000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2935E1C7-049C-349B-9DBB-82D4E53A3249}"/>
              </a:ext>
            </a:extLst>
          </p:cNvPr>
          <p:cNvCxnSpPr>
            <a:cxnSpLocks/>
          </p:cNvCxnSpPr>
          <p:nvPr/>
        </p:nvCxnSpPr>
        <p:spPr>
          <a:xfrm>
            <a:off x="10426848" y="4375337"/>
            <a:ext cx="645476" cy="0"/>
          </a:xfrm>
          <a:prstGeom prst="line">
            <a:avLst/>
          </a:prstGeom>
          <a:ln w="28575">
            <a:solidFill>
              <a:srgbClr val="FF9999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9E5EB0E-B549-E722-66A2-AC9CF953306B}"/>
              </a:ext>
            </a:extLst>
          </p:cNvPr>
          <p:cNvCxnSpPr>
            <a:cxnSpLocks/>
          </p:cNvCxnSpPr>
          <p:nvPr/>
        </p:nvCxnSpPr>
        <p:spPr>
          <a:xfrm>
            <a:off x="6424124" y="4386640"/>
            <a:ext cx="710568" cy="0"/>
          </a:xfrm>
          <a:prstGeom prst="line">
            <a:avLst/>
          </a:prstGeom>
          <a:ln w="28575">
            <a:solidFill>
              <a:srgbClr val="FF9999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3DA47E04-18D1-0F87-60D6-F975030FBE5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978736" y="4415215"/>
            <a:ext cx="91440" cy="335280"/>
          </a:xfrm>
          <a:custGeom>
            <a:avLst/>
            <a:gdLst>
              <a:gd name="connsiteX0" fmla="*/ 0 w 91440"/>
              <a:gd name="connsiteY0" fmla="*/ 0 h 335280"/>
              <a:gd name="connsiteX1" fmla="*/ 12192 w 91440"/>
              <a:gd name="connsiteY1" fmla="*/ 85344 h 335280"/>
              <a:gd name="connsiteX2" fmla="*/ 24384 w 91440"/>
              <a:gd name="connsiteY2" fmla="*/ 109728 h 335280"/>
              <a:gd name="connsiteX3" fmla="*/ 48768 w 91440"/>
              <a:gd name="connsiteY3" fmla="*/ 164592 h 335280"/>
              <a:gd name="connsiteX4" fmla="*/ 54864 w 91440"/>
              <a:gd name="connsiteY4" fmla="*/ 201168 h 335280"/>
              <a:gd name="connsiteX5" fmla="*/ 67056 w 91440"/>
              <a:gd name="connsiteY5" fmla="*/ 304800 h 335280"/>
              <a:gd name="connsiteX6" fmla="*/ 85344 w 91440"/>
              <a:gd name="connsiteY6" fmla="*/ 316992 h 335280"/>
              <a:gd name="connsiteX7" fmla="*/ 91440 w 91440"/>
              <a:gd name="connsiteY7" fmla="*/ 335280 h 33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" h="335280">
                <a:moveTo>
                  <a:pt x="0" y="0"/>
                </a:moveTo>
                <a:cubicBezTo>
                  <a:pt x="972" y="7778"/>
                  <a:pt x="8425" y="72788"/>
                  <a:pt x="12192" y="85344"/>
                </a:cubicBezTo>
                <a:cubicBezTo>
                  <a:pt x="14803" y="94048"/>
                  <a:pt x="20693" y="101424"/>
                  <a:pt x="24384" y="109728"/>
                </a:cubicBezTo>
                <a:cubicBezTo>
                  <a:pt x="55518" y="179779"/>
                  <a:pt x="18755" y="104565"/>
                  <a:pt x="48768" y="164592"/>
                </a:cubicBezTo>
                <a:cubicBezTo>
                  <a:pt x="50800" y="176784"/>
                  <a:pt x="53265" y="188912"/>
                  <a:pt x="54864" y="201168"/>
                </a:cubicBezTo>
                <a:cubicBezTo>
                  <a:pt x="59363" y="235658"/>
                  <a:pt x="58204" y="271163"/>
                  <a:pt x="67056" y="304800"/>
                </a:cubicBezTo>
                <a:cubicBezTo>
                  <a:pt x="68921" y="311885"/>
                  <a:pt x="80767" y="311271"/>
                  <a:pt x="85344" y="316992"/>
                </a:cubicBezTo>
                <a:cubicBezTo>
                  <a:pt x="89358" y="322010"/>
                  <a:pt x="89408" y="329184"/>
                  <a:pt x="91440" y="335280"/>
                </a:cubicBezTo>
              </a:path>
            </a:pathLst>
          </a:custGeom>
          <a:noFill/>
          <a:ln w="76200">
            <a:solidFill>
              <a:srgbClr val="FFD1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FD49FDEC-4A04-1478-8A9B-4DA5EBE2975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066996" y="4951663"/>
            <a:ext cx="128016" cy="457200"/>
          </a:xfrm>
          <a:custGeom>
            <a:avLst/>
            <a:gdLst>
              <a:gd name="connsiteX0" fmla="*/ 0 w 128016"/>
              <a:gd name="connsiteY0" fmla="*/ 0 h 457200"/>
              <a:gd name="connsiteX1" fmla="*/ 12192 w 128016"/>
              <a:gd name="connsiteY1" fmla="*/ 36576 h 457200"/>
              <a:gd name="connsiteX2" fmla="*/ 24384 w 128016"/>
              <a:gd name="connsiteY2" fmla="*/ 60960 h 457200"/>
              <a:gd name="connsiteX3" fmla="*/ 30480 w 128016"/>
              <a:gd name="connsiteY3" fmla="*/ 85344 h 457200"/>
              <a:gd name="connsiteX4" fmla="*/ 42672 w 128016"/>
              <a:gd name="connsiteY4" fmla="*/ 121920 h 457200"/>
              <a:gd name="connsiteX5" fmla="*/ 48768 w 128016"/>
              <a:gd name="connsiteY5" fmla="*/ 152400 h 457200"/>
              <a:gd name="connsiteX6" fmla="*/ 67056 w 128016"/>
              <a:gd name="connsiteY6" fmla="*/ 170688 h 457200"/>
              <a:gd name="connsiteX7" fmla="*/ 79248 w 128016"/>
              <a:gd name="connsiteY7" fmla="*/ 188976 h 457200"/>
              <a:gd name="connsiteX8" fmla="*/ 85344 w 128016"/>
              <a:gd name="connsiteY8" fmla="*/ 298704 h 457200"/>
              <a:gd name="connsiteX9" fmla="*/ 103632 w 128016"/>
              <a:gd name="connsiteY9" fmla="*/ 347472 h 457200"/>
              <a:gd name="connsiteX10" fmla="*/ 121920 w 128016"/>
              <a:gd name="connsiteY10" fmla="*/ 408432 h 457200"/>
              <a:gd name="connsiteX11" fmla="*/ 128016 w 128016"/>
              <a:gd name="connsiteY11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8016" h="457200">
                <a:moveTo>
                  <a:pt x="0" y="0"/>
                </a:moveTo>
                <a:cubicBezTo>
                  <a:pt x="4064" y="12192"/>
                  <a:pt x="7419" y="24644"/>
                  <a:pt x="12192" y="36576"/>
                </a:cubicBezTo>
                <a:cubicBezTo>
                  <a:pt x="15567" y="45013"/>
                  <a:pt x="21193" y="52451"/>
                  <a:pt x="24384" y="60960"/>
                </a:cubicBezTo>
                <a:cubicBezTo>
                  <a:pt x="27326" y="68805"/>
                  <a:pt x="28073" y="77319"/>
                  <a:pt x="30480" y="85344"/>
                </a:cubicBezTo>
                <a:cubicBezTo>
                  <a:pt x="34173" y="97654"/>
                  <a:pt x="40152" y="109318"/>
                  <a:pt x="42672" y="121920"/>
                </a:cubicBezTo>
                <a:cubicBezTo>
                  <a:pt x="44704" y="132080"/>
                  <a:pt x="44134" y="143133"/>
                  <a:pt x="48768" y="152400"/>
                </a:cubicBezTo>
                <a:cubicBezTo>
                  <a:pt x="52623" y="160111"/>
                  <a:pt x="61537" y="164065"/>
                  <a:pt x="67056" y="170688"/>
                </a:cubicBezTo>
                <a:cubicBezTo>
                  <a:pt x="71746" y="176316"/>
                  <a:pt x="75184" y="182880"/>
                  <a:pt x="79248" y="188976"/>
                </a:cubicBezTo>
                <a:cubicBezTo>
                  <a:pt x="81280" y="225552"/>
                  <a:pt x="82027" y="262222"/>
                  <a:pt x="85344" y="298704"/>
                </a:cubicBezTo>
                <a:cubicBezTo>
                  <a:pt x="87673" y="324324"/>
                  <a:pt x="94170" y="323816"/>
                  <a:pt x="103632" y="347472"/>
                </a:cubicBezTo>
                <a:cubicBezTo>
                  <a:pt x="108278" y="359086"/>
                  <a:pt x="119354" y="393035"/>
                  <a:pt x="121920" y="408432"/>
                </a:cubicBezTo>
                <a:cubicBezTo>
                  <a:pt x="124613" y="424592"/>
                  <a:pt x="125984" y="440944"/>
                  <a:pt x="128016" y="457200"/>
                </a:cubicBezTo>
              </a:path>
            </a:pathLst>
          </a:custGeom>
          <a:noFill/>
          <a:ln w="57150">
            <a:solidFill>
              <a:srgbClr val="FFD1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2E38381-3DDD-1975-5557-25403112CF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276096" y="5583852"/>
            <a:ext cx="45719" cy="544068"/>
          </a:xfrm>
          <a:custGeom>
            <a:avLst/>
            <a:gdLst>
              <a:gd name="connsiteX0" fmla="*/ 42672 w 42672"/>
              <a:gd name="connsiteY0" fmla="*/ 0 h 475488"/>
              <a:gd name="connsiteX1" fmla="*/ 18288 w 42672"/>
              <a:gd name="connsiteY1" fmla="*/ 67056 h 475488"/>
              <a:gd name="connsiteX2" fmla="*/ 12192 w 42672"/>
              <a:gd name="connsiteY2" fmla="*/ 97536 h 475488"/>
              <a:gd name="connsiteX3" fmla="*/ 18288 w 42672"/>
              <a:gd name="connsiteY3" fmla="*/ 152400 h 475488"/>
              <a:gd name="connsiteX4" fmla="*/ 24384 w 42672"/>
              <a:gd name="connsiteY4" fmla="*/ 182880 h 475488"/>
              <a:gd name="connsiteX5" fmla="*/ 12192 w 42672"/>
              <a:gd name="connsiteY5" fmla="*/ 231648 h 475488"/>
              <a:gd name="connsiteX6" fmla="*/ 6096 w 42672"/>
              <a:gd name="connsiteY6" fmla="*/ 286512 h 475488"/>
              <a:gd name="connsiteX7" fmla="*/ 0 w 42672"/>
              <a:gd name="connsiteY7" fmla="*/ 304800 h 475488"/>
              <a:gd name="connsiteX8" fmla="*/ 6096 w 42672"/>
              <a:gd name="connsiteY8" fmla="*/ 390144 h 475488"/>
              <a:gd name="connsiteX9" fmla="*/ 18288 w 42672"/>
              <a:gd name="connsiteY9" fmla="*/ 414528 h 475488"/>
              <a:gd name="connsiteX10" fmla="*/ 24384 w 42672"/>
              <a:gd name="connsiteY10" fmla="*/ 432816 h 475488"/>
              <a:gd name="connsiteX11" fmla="*/ 30480 w 42672"/>
              <a:gd name="connsiteY11" fmla="*/ 475488 h 47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672" h="475488">
                <a:moveTo>
                  <a:pt x="42672" y="0"/>
                </a:moveTo>
                <a:cubicBezTo>
                  <a:pt x="36369" y="15757"/>
                  <a:pt x="21418" y="51404"/>
                  <a:pt x="18288" y="67056"/>
                </a:cubicBezTo>
                <a:lnTo>
                  <a:pt x="12192" y="97536"/>
                </a:lnTo>
                <a:cubicBezTo>
                  <a:pt x="14224" y="115824"/>
                  <a:pt x="15686" y="134184"/>
                  <a:pt x="18288" y="152400"/>
                </a:cubicBezTo>
                <a:cubicBezTo>
                  <a:pt x="19753" y="162657"/>
                  <a:pt x="24384" y="172519"/>
                  <a:pt x="24384" y="182880"/>
                </a:cubicBezTo>
                <a:cubicBezTo>
                  <a:pt x="24384" y="197592"/>
                  <a:pt x="17002" y="217217"/>
                  <a:pt x="12192" y="231648"/>
                </a:cubicBezTo>
                <a:cubicBezTo>
                  <a:pt x="10160" y="249936"/>
                  <a:pt x="9121" y="268362"/>
                  <a:pt x="6096" y="286512"/>
                </a:cubicBezTo>
                <a:cubicBezTo>
                  <a:pt x="5040" y="292850"/>
                  <a:pt x="0" y="298374"/>
                  <a:pt x="0" y="304800"/>
                </a:cubicBezTo>
                <a:cubicBezTo>
                  <a:pt x="0" y="333320"/>
                  <a:pt x="1407" y="362012"/>
                  <a:pt x="6096" y="390144"/>
                </a:cubicBezTo>
                <a:cubicBezTo>
                  <a:pt x="7590" y="399108"/>
                  <a:pt x="14708" y="406175"/>
                  <a:pt x="18288" y="414528"/>
                </a:cubicBezTo>
                <a:cubicBezTo>
                  <a:pt x="20819" y="420434"/>
                  <a:pt x="22352" y="426720"/>
                  <a:pt x="24384" y="432816"/>
                </a:cubicBezTo>
                <a:lnTo>
                  <a:pt x="30480" y="475488"/>
                </a:lnTo>
              </a:path>
            </a:pathLst>
          </a:custGeom>
          <a:noFill/>
          <a:ln w="57150">
            <a:solidFill>
              <a:srgbClr val="FFD1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73C4E67-102E-3776-5DDE-C20148A5DD9C}"/>
              </a:ext>
            </a:extLst>
          </p:cNvPr>
          <p:cNvCxnSpPr>
            <a:cxnSpLocks/>
          </p:cNvCxnSpPr>
          <p:nvPr/>
        </p:nvCxnSpPr>
        <p:spPr>
          <a:xfrm>
            <a:off x="6418028" y="6103508"/>
            <a:ext cx="1865688" cy="0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C3FBB58-C69B-E4A1-61D3-997E71A743FB}"/>
              </a:ext>
            </a:extLst>
          </p:cNvPr>
          <p:cNvCxnSpPr>
            <a:cxnSpLocks/>
          </p:cNvCxnSpPr>
          <p:nvPr/>
        </p:nvCxnSpPr>
        <p:spPr>
          <a:xfrm>
            <a:off x="9291916" y="6103508"/>
            <a:ext cx="1780408" cy="0"/>
          </a:xfrm>
          <a:prstGeom prst="line">
            <a:avLst/>
          </a:prstGeom>
          <a:ln w="57150">
            <a:solidFill>
              <a:srgbClr val="FFD1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4E09213-3BF6-503B-354D-FB41291978B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469076" y="4433503"/>
            <a:ext cx="128016" cy="475488"/>
          </a:xfrm>
          <a:custGeom>
            <a:avLst/>
            <a:gdLst>
              <a:gd name="connsiteX0" fmla="*/ 128016 w 128016"/>
              <a:gd name="connsiteY0" fmla="*/ 0 h 475488"/>
              <a:gd name="connsiteX1" fmla="*/ 115824 w 128016"/>
              <a:gd name="connsiteY1" fmla="*/ 67056 h 475488"/>
              <a:gd name="connsiteX2" fmla="*/ 103632 w 128016"/>
              <a:gd name="connsiteY2" fmla="*/ 109728 h 475488"/>
              <a:gd name="connsiteX3" fmla="*/ 67056 w 128016"/>
              <a:gd name="connsiteY3" fmla="*/ 164592 h 475488"/>
              <a:gd name="connsiteX4" fmla="*/ 54864 w 128016"/>
              <a:gd name="connsiteY4" fmla="*/ 213360 h 475488"/>
              <a:gd name="connsiteX5" fmla="*/ 42672 w 128016"/>
              <a:gd name="connsiteY5" fmla="*/ 256032 h 475488"/>
              <a:gd name="connsiteX6" fmla="*/ 36576 w 128016"/>
              <a:gd name="connsiteY6" fmla="*/ 298704 h 475488"/>
              <a:gd name="connsiteX7" fmla="*/ 30480 w 128016"/>
              <a:gd name="connsiteY7" fmla="*/ 316992 h 475488"/>
              <a:gd name="connsiteX8" fmla="*/ 24384 w 128016"/>
              <a:gd name="connsiteY8" fmla="*/ 353568 h 475488"/>
              <a:gd name="connsiteX9" fmla="*/ 12192 w 128016"/>
              <a:gd name="connsiteY9" fmla="*/ 396240 h 475488"/>
              <a:gd name="connsiteX10" fmla="*/ 0 w 128016"/>
              <a:gd name="connsiteY10" fmla="*/ 475488 h 475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8016" h="475488">
                <a:moveTo>
                  <a:pt x="128016" y="0"/>
                </a:moveTo>
                <a:cubicBezTo>
                  <a:pt x="117929" y="80700"/>
                  <a:pt x="128354" y="23203"/>
                  <a:pt x="115824" y="67056"/>
                </a:cubicBezTo>
                <a:cubicBezTo>
                  <a:pt x="113220" y="76171"/>
                  <a:pt x="108504" y="99984"/>
                  <a:pt x="103632" y="109728"/>
                </a:cubicBezTo>
                <a:cubicBezTo>
                  <a:pt x="91874" y="133243"/>
                  <a:pt x="82371" y="144172"/>
                  <a:pt x="67056" y="164592"/>
                </a:cubicBezTo>
                <a:cubicBezTo>
                  <a:pt x="62992" y="180848"/>
                  <a:pt x="60163" y="197464"/>
                  <a:pt x="54864" y="213360"/>
                </a:cubicBezTo>
                <a:cubicBezTo>
                  <a:pt x="49641" y="229029"/>
                  <a:pt x="45734" y="239192"/>
                  <a:pt x="42672" y="256032"/>
                </a:cubicBezTo>
                <a:cubicBezTo>
                  <a:pt x="40102" y="270169"/>
                  <a:pt x="39394" y="284615"/>
                  <a:pt x="36576" y="298704"/>
                </a:cubicBezTo>
                <a:cubicBezTo>
                  <a:pt x="35316" y="305005"/>
                  <a:pt x="31874" y="310719"/>
                  <a:pt x="30480" y="316992"/>
                </a:cubicBezTo>
                <a:cubicBezTo>
                  <a:pt x="27799" y="329058"/>
                  <a:pt x="26808" y="341448"/>
                  <a:pt x="24384" y="353568"/>
                </a:cubicBezTo>
                <a:cubicBezTo>
                  <a:pt x="20557" y="372704"/>
                  <a:pt x="18002" y="378810"/>
                  <a:pt x="12192" y="396240"/>
                </a:cubicBezTo>
                <a:cubicBezTo>
                  <a:pt x="5857" y="472256"/>
                  <a:pt x="23398" y="452090"/>
                  <a:pt x="0" y="475488"/>
                </a:cubicBezTo>
              </a:path>
            </a:pathLst>
          </a:custGeom>
          <a:noFill/>
          <a:ln w="57150">
            <a:solidFill>
              <a:srgbClr val="FFD1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28FD178-F948-743B-570A-77DEA5F05473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9469076" y="5635694"/>
            <a:ext cx="1630254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/>
              <a:t>Rough sidewall polish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35FF5695-DE48-1134-0877-2C1AA6986690}"/>
              </a:ext>
            </a:extLst>
          </p:cNvPr>
          <p:cNvCxnSpPr>
            <a:cxnSpLocks/>
          </p:cNvCxnSpPr>
          <p:nvPr/>
        </p:nvCxnSpPr>
        <p:spPr>
          <a:xfrm>
            <a:off x="9533084" y="5146585"/>
            <a:ext cx="0" cy="4997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9A007305-1A62-E4CD-0BE2-DB4087F5DB71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8857593" y="3972583"/>
            <a:ext cx="1943289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>
                <a:solidFill>
                  <a:srgbClr val="FFD100"/>
                </a:solidFill>
              </a:rPr>
              <a:t>Non-uniform Ti/Au coating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0E60BB9A-2D9F-5E28-454E-E5C5A873A71E}"/>
              </a:ext>
            </a:extLst>
          </p:cNvPr>
          <p:cNvCxnSpPr>
            <a:cxnSpLocks/>
          </p:cNvCxnSpPr>
          <p:nvPr/>
        </p:nvCxnSpPr>
        <p:spPr>
          <a:xfrm flipV="1">
            <a:off x="9469076" y="4175473"/>
            <a:ext cx="0" cy="422334"/>
          </a:xfrm>
          <a:prstGeom prst="straightConnector1">
            <a:avLst/>
          </a:prstGeom>
          <a:ln>
            <a:solidFill>
              <a:srgbClr val="FFD1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D57338B4-042A-4C77-D5A9-A5B24DBEABEA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591800" y="4182242"/>
            <a:ext cx="750205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rgbClr val="FF9999"/>
                </a:solidFill>
              </a:rPr>
              <a:t>active are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6BE4525-7AF4-DA01-51CF-39AB1FA34F59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99177" y="3763242"/>
            <a:ext cx="960199" cy="17543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b="1" dirty="0"/>
              <a:t>SiO2 grinded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45A107C-DABB-1405-0018-EBB2E98524E4}"/>
              </a:ext>
            </a:extLst>
          </p:cNvPr>
          <p:cNvCxnSpPr/>
          <p:nvPr/>
        </p:nvCxnSpPr>
        <p:spPr>
          <a:xfrm flipV="1">
            <a:off x="7518569" y="3969251"/>
            <a:ext cx="0" cy="4296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75" name="Table 75">
            <a:extLst>
              <a:ext uri="{FF2B5EF4-FFF2-40B4-BE49-F238E27FC236}">
                <a16:creationId xmlns:a16="http://schemas.microsoft.com/office/drawing/2014/main" id="{F234FB8C-5A06-4C43-BA2B-610E225A81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69274"/>
              </p:ext>
            </p:extLst>
          </p:nvPr>
        </p:nvGraphicFramePr>
        <p:xfrm>
          <a:off x="2323320" y="1499780"/>
          <a:ext cx="6685452" cy="13507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28484">
                  <a:extLst>
                    <a:ext uri="{9D8B030D-6E8A-4147-A177-3AD203B41FA5}">
                      <a16:colId xmlns:a16="http://schemas.microsoft.com/office/drawing/2014/main" val="1877331026"/>
                    </a:ext>
                  </a:extLst>
                </a:gridCol>
                <a:gridCol w="2228484">
                  <a:extLst>
                    <a:ext uri="{9D8B030D-6E8A-4147-A177-3AD203B41FA5}">
                      <a16:colId xmlns:a16="http://schemas.microsoft.com/office/drawing/2014/main" val="2838447206"/>
                    </a:ext>
                  </a:extLst>
                </a:gridCol>
                <a:gridCol w="2228484">
                  <a:extLst>
                    <a:ext uri="{9D8B030D-6E8A-4147-A177-3AD203B41FA5}">
                      <a16:colId xmlns:a16="http://schemas.microsoft.com/office/drawing/2014/main" val="999224014"/>
                    </a:ext>
                  </a:extLst>
                </a:gridCol>
              </a:tblGrid>
              <a:tr h="337689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10069F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N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Ol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664899"/>
                  </a:ext>
                </a:extLst>
              </a:tr>
              <a:tr h="3376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Image shif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G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OK, large vari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310563"/>
                  </a:ext>
                </a:extLst>
              </a:tr>
              <a:tr h="3376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Fine Focus drif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G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G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413022"/>
                  </a:ext>
                </a:extLst>
              </a:tr>
              <a:tr h="33768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Stig drif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Go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10069F"/>
                          </a:solidFill>
                        </a:rPr>
                        <a:t>Bad (drifting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86526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57C91EA-2CD1-0877-E96C-5B25B3AF3B98}"/>
              </a:ext>
            </a:extLst>
          </p:cNvPr>
          <p:cNvSpPr txBox="1"/>
          <p:nvPr/>
        </p:nvSpPr>
        <p:spPr>
          <a:xfrm>
            <a:off x="9144000" y="2348330"/>
            <a:ext cx="2819399" cy="61401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altLang="zh-CN" sz="1050" dirty="0">
                <a:solidFill>
                  <a:srgbClr val="10069F"/>
                </a:solidFill>
              </a:rPr>
              <a:t>* New design uses SE signal, and old design uses BSE signal due to driver shortage. The difference between 2 types of signals have no impact on the test results.</a:t>
            </a:r>
            <a:endParaRPr lang="en-US" sz="1050" dirty="0">
              <a:solidFill>
                <a:srgbClr val="1006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402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3F605-DC53-4616-90E7-77C3B59B2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0CB35D-4710-4AA2-9B4A-49A84C20FA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0AE1A8-06C4-4B0A-9B6B-B5A76749E4A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7BA977-7E81-47E2-82ED-840460D3BB4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6, 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546E48-A8AB-4471-BCFA-2EC129B3490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C1BDAC-06D3-4167-8DD1-6C7ABF62ADA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9C7D742-3747-4561-9253-CC97D26E4184}"/>
              </a:ext>
            </a:extLst>
          </p:cNvPr>
          <p:cNvGrpSpPr/>
          <p:nvPr/>
        </p:nvGrpSpPr>
        <p:grpSpPr>
          <a:xfrm>
            <a:off x="2514600" y="13822"/>
            <a:ext cx="6096528" cy="6920675"/>
            <a:chOff x="2514600" y="13822"/>
            <a:chExt cx="6096528" cy="692067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A4B85AB-1923-4EE3-AA05-F57665D5435D}"/>
                </a:ext>
              </a:extLst>
            </p:cNvPr>
            <p:cNvSpPr/>
            <p:nvPr/>
          </p:nvSpPr>
          <p:spPr>
            <a:xfrm>
              <a:off x="2514600" y="3443713"/>
              <a:ext cx="6096528" cy="6148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65E2CF3-C5CB-4DD0-AF6D-72A4B1522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14600" y="13822"/>
              <a:ext cx="6096528" cy="3429297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C43DD16-3567-4136-9CB4-D137F8F6F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14600" y="3505200"/>
              <a:ext cx="6096528" cy="34292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8273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AUTHORING_SESSION_ID" val="a0816322-0148-42d8-b738-2e9d88c75492"/>
  <p:tag name="UNDO_REDO_REVISION" val="232"/>
  <p:tag name="MIO_PRESENTATION_LANGUAGE" val="1033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ZmfAG71bJLtxmllhKaVDkEAAAAAAADAAAAAAADAAAAAwADAAAAAAD///////8DAAEA////////BQAAAAMAEAALGwp8Hl6Hw0SlX4XVkKunhgQAAAABAAMAAAACAAMAAAAEAAQAAQD///////8FAAAABAAQAAu1aIXukZOFSL/DCvRvgpO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CwOAAAAAAAAAAAAAP////+DAIMAAAAFX2lkABAAAAAEhmZ8AbvVsku3GaWWEppUOQNEYXRhABsAAAAETGlua2VkU2hhcGVEYXRhAAUAAAAAAAJOYW1lABkAAABMaW5rZWRTaGFwZXNEYXRhUHJvcGVydHkAEFZlcnNpb24AAQAAAAlMYXN0V3JpdGUA9G/SlpABAAAAAQD/////gwCDAAAABV9pZAAQAAAABBsKfB5eh8NEpV+F1ZCrp4YDRGF0YQAbAAAABExpbmtlZFNoYXBlRGF0YQAFAAAAAAACTmFtZQAZAAAATGlua2VkU2hhcGVzRGF0YVByb3BlcnR5ABBWZXJzaW9uAAAAAAAJTGFzdFdyaXRlAHjprNF6AQAAAAI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EEAAAAAAAFAAAAAwAFAAAAAQADAAEBAwAAAAMA////////GgAGTGlua2VkU2hhcGVzRGF0YVByb3BlcnR5XzAEAAAAAQAFAAAABAAFAAAAAgAEAAIBAwAAAAQA////////JQAGTGlua2VkU2hhcGVQcmVzZW50YXRpb25TZXR0aW5nc0RhdGFfMAQAAAACAAUAAAAAAAUAAAAD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61140923299563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wT+O5vk5WFMh8h+MFElwI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T+O5vk5WFMh8h+MFElwI4DRGF0YQAWAAAAAlBlcnNvbmFsSWQAAQAAAAAAAk5hbWUACwAAAFBlcnNvbmFsSWQAEFZlcnNpb24AAAAAAAlMYXN0V3JpdGUARo9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5928798"/>
  <p:tag name="EMPOWERCHARTSPROPERTIES_A_LENGTH" val="24576"/>
  <p:tag name="RUNTIME_ID" val="a433bfe9-c917-490f-bfd4-b0b31b3d6d4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OD6zxDEJNn4kSxVzTrG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OD6zxDEJNn4kSxVzTrGUDRGF0YQAWAAAAAlBlcnNvbmFsSWQAAQAAAAAAAk5hbWUACwAAAFBlcnNvbmFsSWQAEFZlcnNpb24AAAAAAAlMYXN0V3JpdGUAdY9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6428089"/>
  <p:tag name="EMPOWERCHARTSPROPERTIES_A_LENGTH" val="24576"/>
  <p:tag name="RUNTIME_ID" val="c3560350-63e1-4e26-82a1-96d5c146c59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0eDqknu2ZFiPZLawzGrd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0eDqknu2ZFiPZLawzGrdcDRGF0YQAWAAAAAlBlcnNvbmFsSWQAAQAAAAAAAk5hbWUACwAAAFBlcnNvbmFsSWQAEFZlcnNpb24AAAAAAAlMYXN0V3JpdGUAqY9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6892571"/>
  <p:tag name="EMPOWERCHARTSPROPERTIES_A_LENGTH" val="24576"/>
  <p:tag name="RUNTIME_ID" val="afa75cff-778a-4448-a8b8-f98f06794c9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MF98Zw3DdPtlrxqs5xnC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MF98Zw3DdPtlrxqs5xnC4DRGF0YQAWAAAAAlBlcnNvbmFsSWQAAQAAAAAAAk5hbWUACwAAAFBlcnNvbmFsSWQAEFZlcnNpb24AAAAAAAlMYXN0V3JpdGUA1Y9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7347871"/>
  <p:tag name="EMPOWERCHARTSPROPERTIES_A_LENGTH" val="24576"/>
  <p:tag name="RUNTIME_ID" val="bd0da89a-cd6b-4436-b433-1caab4b03d0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5gXzIkUorVGuaAkvVs6fVg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gXzIkUorVGuaAkvVs6fVgDRGF0YQAWAAAAAlBlcnNvbmFsSWQAAQAAAAAAAk5hbWUACwAAAFBlcnNvbmFsSWQAEFZlcnNpb24AAAAAAAlMYXN0V3JpdGUABpB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8059887"/>
  <p:tag name="EMPOWERCHARTSPROPERTIES_A_LENGTH" val="24576"/>
  <p:tag name="RUNTIME_ID" val="544ecf79-5c40-4457-bff5-df5008410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6UxAxvN6tNmfvUJxjtQ/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6UxAxvN6tNmfvUJxjtQ/oDRGF0YQAWAAAAAlBlcnNvbmFsSWQAAQAAAAAAAk5hbWUACwAAAFBlcnNvbmFsSWQAEFZlcnNpb24AAAAAAAlMYXN0V3JpdGUAT5B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8802890"/>
  <p:tag name="EMPOWERCHARTSPROPERTIES_A_LENGTH" val="24576"/>
  <p:tag name="RUNTIME_ID" val="9b9acbac-02d8-4eb5-93cb-86634c54c53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XcdZr2M5pLnG2SSQZuNB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XcdZr2M5pLnG2SSQZuNBwDRGF0YQAWAAAAAlBlcnNvbmFsSWQAAQAAAAAAAk5hbWUACwAAAFBlcnNvbmFsSWQAEFZlcnNpb24AAAAAAAlMYXN0V3JpdGUAmpB4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349335983"/>
  <p:tag name="EMPOWERCHARTSPROPERTIES_A_LENGTH" val="24576"/>
  <p:tag name="RUNTIME_ID" val="d6288a81-2241-435b-a4f9-c008c1e91d8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7UMhkb4OJElUnBwVBryV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FQMAAAAAAAAAAAAACAB////////////////AAAA////////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MAAZQZXJzb25hbElkXzAFAAAAAAAEAAAAAAAEAAAAAQA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7UMhkb4OJElUnBwVBryVIDRGF0YQAWAAAAAlBlcnNvbmFsSWQAAQAAAAAAAk5hbWUACwAAAFBlcnNvbmFsSWQAEFZlcnNpb24AAAAAAAlMYXN0V3JpdGUANX1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5026767"/>
  <p:tag name="EMPOWERCHARTSPROPERTIES_A_LENGTH" val="24576"/>
  <p:tag name="RUNTIME_ID" val="7779a44f-f277-473a-a20e-48451e3dece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4Qzke26UNNgqpZWzRd26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4Qzke26UNNgqpZWzRd268DRGF0YQAWAAAAAlBlcnNvbmFsSWQAAQAAAAAAAk5hbWUACwAAAFBlcnNvbmFsSWQAEFZlcnNpb24AAAAAAAlMYXN0V3JpdGUAdn1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5693256"/>
  <p:tag name="EMPOWERCHARTSPROPERTIES_A_LENGTH" val="24576"/>
  <p:tag name="RUNTIME_ID" val="8b5fdb46-0442-4a18-8952-8fa81bc174a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yknole1bVFjOzWT499W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yknole1bVFjOzWT499WBEDRGF0YQAWAAAAAlBlcnNvbmFsSWQAAQAAAAAAAk5hbWUACwAAAFBlcnNvbmFsSWQAEFZlcnNpb24AAAAAAAlMYXN0V3JpdGUAqX1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6225235"/>
  <p:tag name="EMPOWERCHARTSPROPERTIES_A_LENGTH" val="24576"/>
  <p:tag name="RUNTIME_ID" val="94aed6fc-792e-4105-8dfe-4353be3874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zHhRrFnARAs2rUjuOr4Dw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zHhRrFnARAs2rUjuOr4DwDRGF0YQAWAAAAAlBlcnNvbmFsSWQAAQAAAAAAAk5hbWUACwAAAFBlcnNvbmFsSWQAEFZlcnNpb24AAAAAAAlMYXN0V3JpdGUA2X1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6665519"/>
  <p:tag name="EMPOWERCHARTSPROPERTIES_A_LENGTH" val="24576"/>
  <p:tag name="RUNTIME_ID" val="bd084165-e5c0-4cc1-ab64-962e05a5a0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Z0G1RpMKpLoAscQR/wOJ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Z0G1RpMKpLoAscQR/wOJoDRGF0YQAWAAAAAlBlcnNvbmFsSWQAAQAAAAAAAk5hbWUACwAAAFBlcnNvbmFsSWQAEFZlcnNpb24AAAAAAAlMYXN0V3JpdGUACX5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7186963"/>
  <p:tag name="EMPOWERCHARTSPROPERTIES_A_LENGTH" val="24576"/>
  <p:tag name="RUNTIME_ID" val="18b49600-4434-418a-a107-4b1922476c0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ft/ShXlIpKm3WgzawxRJQ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ft/ShXlIpKm3WgzawxRJQDRGF0YQAWAAAAAlBlcnNvbmFsSWQAAQAAAAAAAk5hbWUACwAAAFBlcnNvbmFsSWQAEFZlcnNpb24AAAAAAAlMYXN0V3JpdGUARH5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7736449"/>
  <p:tag name="EMPOWERCHARTSPROPERTIES_A_LENGTH" val="24576"/>
  <p:tag name="RUNTIME_ID" val="e078660f-4832-4f91-b046-1fbf88bbc1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ppuZTbapBNgNfQtlN/Q+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ppuZTbapBNgNfQtlN/Q+8DRGF0YQAWAAAAAlBlcnNvbmFsSWQAAQAAAAAAAk5hbWUACwAAAFBlcnNvbmFsSWQAEFZlcnNpb24AAAAAAAlMYXN0V3JpdGUAeH5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8282705"/>
  <p:tag name="EMPOWERCHARTSPROPERTIES_A_LENGTH" val="24576"/>
  <p:tag name="RUNTIME_ID" val="d27809d2-fcd8-411e-850c-86bbdd5f1a6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zF7C4AIYZCkWJuNfWLvM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zF7C4AIYZCkWJuNfWLvM0DRGF0YQAWAAAAAlBlcnNvbmFsSWQAAQAAAAAAAk5hbWUACwAAAFBlcnNvbmFsSWQAEFZlcnNpb24AAAAAAAlMYXN0V3JpdGUArH5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8781471"/>
  <p:tag name="EMPOWERCHARTSPROPERTIES_A_LENGTH" val="24576"/>
  <p:tag name="RUNTIME_ID" val="9da9dcf3-7b4e-44ad-a176-3891a7ae869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IV0hfHfU1Al4icHtsCfm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IV0hfHfU1Al4icHtsCfmkDRGF0YQAWAAAAAlBlcnNvbmFsSWQAAQAAAAAAAk5hbWUACwAAAFBlcnNvbmFsSWQAEFZlcnNpb24AAAAAAAlMYXN0V3JpdGUA235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9235019"/>
  <p:tag name="EMPOWERCHARTSPROPERTIES_A_LENGTH" val="24576"/>
  <p:tag name="RUNTIME_ID" val="cbb61fb2-194a-460e-85b1-bcfc9184c7b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dkpOmCzB5HsMBuWMPm1+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dkpOmCzB5HsMBuWMPm1+4DRGF0YQAWAAAAAlBlcnNvbmFsSWQAAQAAAAAAAk5hbWUACwAAAFBlcnNvbmFsSWQAEFZlcnNpb24AAAAAAAlMYXN0V3JpdGUACX9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59700005"/>
  <p:tag name="EMPOWERCHARTSPROPERTIES_A_LENGTH" val="24576"/>
  <p:tag name="RUNTIME_ID" val="5efad183-25a4-48ad-b4fb-f15930c1bde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3YXUFeOQLxLjeDNeSXH5tM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YXUFeOQLxLjeDNeSXH5tMDRGF0YQAWAAAAAlBlcnNvbmFsSWQAAQAAAAAAAk5hbWUACwAAAFBlcnNvbmFsSWQAEFZlcnNpb24AAAAAAAlMYXN0V3JpdGUANX9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60156004"/>
  <p:tag name="EMPOWERCHARTSPROPERTIES_A_LENGTH" val="24576"/>
  <p:tag name="RUNTIME_ID" val="85df3cb4-931a-4ea2-b535-a753def7489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XqRqUXqqZHpfDWCGedNI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XqRqUXqqZHpfDWCGedNIUDRGF0YQAWAAAAAlBlcnNvbmFsSWQAAQAAAAAAAk5hbWUACwAAAFBlcnNvbmFsSWQAEFZlcnNpb24AAAAAAAlMYXN0V3JpdGUAb3955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1386960726593"/>
  <p:tag name="EMPOWERCHARTSPROPERTIES_A_LENGTH" val="24576"/>
  <p:tag name="RUNTIME_ID" val="d0ad2e6c-3f2e-4e84-bdbf-f20f6a16453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15.04.2024 12:26:06"/>
  <p:tag name="MIO_LASTDOWNLOADED" val="03.07.2024 11:44:27.861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58A94E32-D02A-470F-B270-0850FDF90CAE}" vid="{46371A1F-6575-4FE6-8214-9411973EB134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2.xml><?xml version="1.0" encoding="utf-8"?>
<?mso-contentType ?>
<SharedContentType xmlns="Microsoft.SharePoint.Taxonomy.ContentTypeSync" SourceId="9bb7800a-9dd4-4efa-9404-7ac564e64633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BCE00E-75BB-4F60-96C8-6C9AA8CDF59F}">
  <ds:schemaRefs>
    <ds:schemaRef ds:uri="665c44e8-82e0-472a-a146-da60c58e68e1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  <ds:schemaRef ds:uri="b34eedfc-73f5-4c56-9ed0-8189ca2f8c38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46DF9B4B-33B2-4D9F-A3B2-FDE137E095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b34eedfc-73f5-4c56-9ed0-8189ca2f8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75</TotalTime>
  <Words>139</Words>
  <Application>Microsoft Office PowerPoint</Application>
  <PresentationFormat>Widescreen</PresentationFormat>
  <Paragraphs>39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Arial</vt:lpstr>
      <vt:lpstr>ASML Template 2021</vt:lpstr>
      <vt:lpstr>eP5XLE Detector Design Change</vt:lpstr>
      <vt:lpstr>Summary</vt:lpstr>
      <vt:lpstr>PowerPoint Presentation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host Image Test on Demo3</dc:title>
  <dc:creator>Liang Li</dc:creator>
  <cp:lastModifiedBy>Liang Li</cp:lastModifiedBy>
  <cp:revision>9</cp:revision>
  <dcterms:created xsi:type="dcterms:W3CDTF">2025-03-07T01:16:20Z</dcterms:created>
  <dcterms:modified xsi:type="dcterms:W3CDTF">2025-03-07T08:03:54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ClassificationContentMarkingFooterLocations">
    <vt:lpwstr>ASML Template 2021:9</vt:lpwstr>
  </property>
  <property fmtid="{D5CDD505-2E9C-101B-9397-08002B2CF9AE}" pid="5" name="ClassificationContentMarkingFooterText">
    <vt:lpwstr>Confidential</vt:lpwstr>
  </property>
  <property fmtid="{D5CDD505-2E9C-101B-9397-08002B2CF9AE}" pid="6" name="MSIP_Label_f6a2fad9-126f-43f1-a0a4-9c907561022c_Enabled">
    <vt:lpwstr>true</vt:lpwstr>
  </property>
  <property fmtid="{D5CDD505-2E9C-101B-9397-08002B2CF9AE}" pid="7" name="MSIP_Label_f6a2fad9-126f-43f1-a0a4-9c907561022c_SetDate">
    <vt:lpwstr>2025-03-07T01:16:30Z</vt:lpwstr>
  </property>
  <property fmtid="{D5CDD505-2E9C-101B-9397-08002B2CF9AE}" pid="8" name="MSIP_Label_f6a2fad9-126f-43f1-a0a4-9c907561022c_Method">
    <vt:lpwstr>Privileged</vt:lpwstr>
  </property>
  <property fmtid="{D5CDD505-2E9C-101B-9397-08002B2CF9AE}" pid="9" name="MSIP_Label_f6a2fad9-126f-43f1-a0a4-9c907561022c_Name">
    <vt:lpwstr>Non-Business</vt:lpwstr>
  </property>
  <property fmtid="{D5CDD505-2E9C-101B-9397-08002B2CF9AE}" pid="10" name="MSIP_Label_f6a2fad9-126f-43f1-a0a4-9c907561022c_SiteId">
    <vt:lpwstr>af73baa8-f594-4eb2-a39d-93e96cad61fc</vt:lpwstr>
  </property>
  <property fmtid="{D5CDD505-2E9C-101B-9397-08002B2CF9AE}" pid="11" name="MSIP_Label_f6a2fad9-126f-43f1-a0a4-9c907561022c_ActionId">
    <vt:lpwstr>5384dc3c-e2ec-457d-a5a1-681eae519e5e</vt:lpwstr>
  </property>
  <property fmtid="{D5CDD505-2E9C-101B-9397-08002B2CF9AE}" pid="12" name="MSIP_Label_f6a2fad9-126f-43f1-a0a4-9c907561022c_ContentBits">
    <vt:lpwstr>0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